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BED-467C-99F0-4144C19127AB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ED-467C-99F0-4144C19127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4F4F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4F4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BED-467C-99F0-4144C19127AB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BED-467C-99F0-4144C19127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1617167"/>
        <c:axId val="308600031"/>
      </c:barChart>
      <c:catAx>
        <c:axId val="191617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08600031"/>
        <c:crosses val="autoZero"/>
        <c:auto val="1"/>
        <c:lblAlgn val="ctr"/>
        <c:lblOffset val="100"/>
        <c:noMultiLvlLbl val="0"/>
      </c:catAx>
      <c:valAx>
        <c:axId val="30860003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1617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09C-42FD-AC15-914128F96CEE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9C-42FD-AC15-914128F96C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4F4F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4F4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09C-42FD-AC15-914128F96CEE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09C-42FD-AC15-914128F96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1617167"/>
        <c:axId val="308600031"/>
      </c:barChart>
      <c:catAx>
        <c:axId val="191617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08600031"/>
        <c:crosses val="autoZero"/>
        <c:auto val="1"/>
        <c:lblAlgn val="ctr"/>
        <c:lblOffset val="100"/>
        <c:noMultiLvlLbl val="0"/>
      </c:catAx>
      <c:valAx>
        <c:axId val="30860003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1617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16A29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7E0-40FA-B453-53194B041923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E0-40FA-B453-53194B04192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4F4F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4F4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7E0-40FA-B453-53194B041923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7E0-40FA-B453-53194B0419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1617167"/>
        <c:axId val="308600031"/>
      </c:barChart>
      <c:catAx>
        <c:axId val="191617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08600031"/>
        <c:crosses val="autoZero"/>
        <c:auto val="1"/>
        <c:lblAlgn val="ctr"/>
        <c:lblOffset val="100"/>
        <c:noMultiLvlLbl val="0"/>
      </c:catAx>
      <c:valAx>
        <c:axId val="30860003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1617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EEC-4B3F-8BB2-0600771EF04E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EEC-4B3F-8BB2-0600771EF04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4F4F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4F4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EEC-4B3F-8BB2-0600771EF04E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EEC-4B3F-8BB2-0600771EF0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1617167"/>
        <c:axId val="308600031"/>
      </c:barChart>
      <c:catAx>
        <c:axId val="191617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08600031"/>
        <c:crosses val="autoZero"/>
        <c:auto val="1"/>
        <c:lblAlgn val="ctr"/>
        <c:lblOffset val="100"/>
        <c:noMultiLvlLbl val="0"/>
      </c:catAx>
      <c:valAx>
        <c:axId val="30860003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1617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2E-4C60-ABF0-847BD558DB88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2E-4C60-ABF0-847BD558DB8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4F4F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4F4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42E-4C60-ABF0-847BD558DB88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42E-4C60-ABF0-847BD558DB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1617167"/>
        <c:axId val="308600031"/>
      </c:barChart>
      <c:catAx>
        <c:axId val="191617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08600031"/>
        <c:crosses val="autoZero"/>
        <c:auto val="1"/>
        <c:lblAlgn val="ctr"/>
        <c:lblOffset val="100"/>
        <c:noMultiLvlLbl val="0"/>
      </c:catAx>
      <c:valAx>
        <c:axId val="30860003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1617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BB-4CAB-8C12-F83DB36863B9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BB-4CAB-8C12-F83DB36863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4F4F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4F4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4BB-4CAB-8C12-F83DB36863B9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4BB-4CAB-8C12-F83DB36863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1617167"/>
        <c:axId val="308600031"/>
      </c:barChart>
      <c:catAx>
        <c:axId val="191617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08600031"/>
        <c:crosses val="autoZero"/>
        <c:auto val="1"/>
        <c:lblAlgn val="ctr"/>
        <c:lblOffset val="100"/>
        <c:noMultiLvlLbl val="0"/>
      </c:catAx>
      <c:valAx>
        <c:axId val="30860003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1617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6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10" Type="http://schemas.openxmlformats.org/officeDocument/2006/relationships/chart" Target="../charts/chart6.xml"/><Relationship Id="rId4" Type="http://schemas.openxmlformats.org/officeDocument/2006/relationships/image" Target="../media/image2.emf"/><Relationship Id="rId9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23E06F-50DF-DFE1-E24F-A718AC7698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48784CE-CDF6-8B7F-3024-673DF55C42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8784CE-CDF6-8B7F-3024-673DF55C42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292A83-2A02-45E7-5D86-26D20340A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693C586-8F6A-6311-ED02-44140A5F0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lumn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86A2A67-F8CA-0731-ADD5-F5F0EE1D1079}"/>
              </a:ext>
            </a:extLst>
          </p:cNvPr>
          <p:cNvGraphicFramePr/>
          <p:nvPr/>
        </p:nvGraphicFramePr>
        <p:xfrm>
          <a:off x="510045" y="1351512"/>
          <a:ext cx="1518335" cy="2501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8292784-E205-A46F-2545-7C10AAD90E6F}"/>
              </a:ext>
            </a:extLst>
          </p:cNvPr>
          <p:cNvGraphicFramePr/>
          <p:nvPr/>
        </p:nvGraphicFramePr>
        <p:xfrm>
          <a:off x="7960747" y="1351512"/>
          <a:ext cx="1518335" cy="2501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691D354-7CE7-FD1B-9A29-4CDDBAFD1E73}"/>
              </a:ext>
            </a:extLst>
          </p:cNvPr>
          <p:cNvGraphicFramePr/>
          <p:nvPr/>
        </p:nvGraphicFramePr>
        <p:xfrm>
          <a:off x="4241157" y="1482419"/>
          <a:ext cx="1518335" cy="2501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04509CC-F19B-9350-19DA-D4F21A31AB3C}"/>
              </a:ext>
            </a:extLst>
          </p:cNvPr>
          <p:cNvGraphicFramePr/>
          <p:nvPr/>
        </p:nvGraphicFramePr>
        <p:xfrm>
          <a:off x="510045" y="3562253"/>
          <a:ext cx="1518335" cy="2501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DD3BEAC-5A74-C37F-4887-5376A2097969}"/>
              </a:ext>
            </a:extLst>
          </p:cNvPr>
          <p:cNvGraphicFramePr/>
          <p:nvPr/>
        </p:nvGraphicFramePr>
        <p:xfrm>
          <a:off x="4233402" y="3580208"/>
          <a:ext cx="1518335" cy="2501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E874ABBD-A930-9BA5-F40D-98585750BA0F}"/>
              </a:ext>
            </a:extLst>
          </p:cNvPr>
          <p:cNvGraphicFramePr/>
          <p:nvPr/>
        </p:nvGraphicFramePr>
        <p:xfrm>
          <a:off x="7957677" y="3562253"/>
          <a:ext cx="1518335" cy="2501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225DAE3-8DAB-9DC1-6506-415DA0506AEA}"/>
              </a:ext>
            </a:extLst>
          </p:cNvPr>
          <p:cNvSpPr txBox="1"/>
          <p:nvPr/>
        </p:nvSpPr>
        <p:spPr>
          <a:xfrm>
            <a:off x="1628597" y="2359381"/>
            <a:ext cx="2596317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2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2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2B6338-4C53-1A71-AB84-AA303C38793E}"/>
              </a:ext>
            </a:extLst>
          </p:cNvPr>
          <p:cNvSpPr txBox="1"/>
          <p:nvPr/>
        </p:nvSpPr>
        <p:spPr>
          <a:xfrm>
            <a:off x="1628603" y="2577334"/>
            <a:ext cx="2604803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4" name="Shape0_20221011_132100">
            <a:extLst>
              <a:ext uri="{FF2B5EF4-FFF2-40B4-BE49-F238E27FC236}">
                <a16:creationId xmlns:a16="http://schemas.microsoft.com/office/drawing/2014/main" id="{D2DBB410-FA1A-1FEF-EA2B-058A6BCA1D84}"/>
              </a:ext>
            </a:extLst>
          </p:cNvPr>
          <p:cNvSpPr txBox="1"/>
          <p:nvPr/>
        </p:nvSpPr>
        <p:spPr>
          <a:xfrm>
            <a:off x="1628726" y="2049804"/>
            <a:ext cx="466474" cy="24622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XX%</a:t>
            </a:r>
            <a:endParaRPr lang="en-IN"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2034C-7EF1-B622-ECA9-1F076A03C702}"/>
              </a:ext>
            </a:extLst>
          </p:cNvPr>
          <p:cNvSpPr txBox="1"/>
          <p:nvPr/>
        </p:nvSpPr>
        <p:spPr>
          <a:xfrm>
            <a:off x="5352873" y="2359381"/>
            <a:ext cx="2596317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2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2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F63E45-5A2D-58E0-3726-44562915DA89}"/>
              </a:ext>
            </a:extLst>
          </p:cNvPr>
          <p:cNvSpPr txBox="1"/>
          <p:nvPr/>
        </p:nvSpPr>
        <p:spPr>
          <a:xfrm>
            <a:off x="5352877" y="2577334"/>
            <a:ext cx="2604803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17" name="Shape1_20221011_132100">
            <a:extLst>
              <a:ext uri="{FF2B5EF4-FFF2-40B4-BE49-F238E27FC236}">
                <a16:creationId xmlns:a16="http://schemas.microsoft.com/office/drawing/2014/main" id="{66CAC05D-F4A4-1CAA-A777-3C0B4AF78448}"/>
              </a:ext>
            </a:extLst>
          </p:cNvPr>
          <p:cNvSpPr txBox="1"/>
          <p:nvPr/>
        </p:nvSpPr>
        <p:spPr>
          <a:xfrm>
            <a:off x="5353002" y="2049808"/>
            <a:ext cx="466474" cy="24622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XX%</a:t>
            </a:r>
            <a:endParaRPr lang="en-IN"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F4111F-AF84-5B6A-C65E-291F461CFB25}"/>
              </a:ext>
            </a:extLst>
          </p:cNvPr>
          <p:cNvSpPr txBox="1"/>
          <p:nvPr/>
        </p:nvSpPr>
        <p:spPr>
          <a:xfrm>
            <a:off x="9077144" y="2359381"/>
            <a:ext cx="2596317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2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2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60A2C8-F0E4-CA85-F4DA-27E6ECC572BF}"/>
              </a:ext>
            </a:extLst>
          </p:cNvPr>
          <p:cNvSpPr txBox="1"/>
          <p:nvPr/>
        </p:nvSpPr>
        <p:spPr>
          <a:xfrm>
            <a:off x="9077152" y="2577334"/>
            <a:ext cx="2604803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0" name="Shape2_20221011_132100">
            <a:extLst>
              <a:ext uri="{FF2B5EF4-FFF2-40B4-BE49-F238E27FC236}">
                <a16:creationId xmlns:a16="http://schemas.microsoft.com/office/drawing/2014/main" id="{3EE6A053-7516-AAB6-5CF8-18E2C8967C9F}"/>
              </a:ext>
            </a:extLst>
          </p:cNvPr>
          <p:cNvSpPr txBox="1"/>
          <p:nvPr/>
        </p:nvSpPr>
        <p:spPr>
          <a:xfrm>
            <a:off x="9077278" y="2049808"/>
            <a:ext cx="466474" cy="24622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XX%</a:t>
            </a:r>
            <a:endParaRPr lang="en-IN"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31AE97B-E63E-4DD2-AEDB-93D022316C1B}"/>
              </a:ext>
            </a:extLst>
          </p:cNvPr>
          <p:cNvSpPr txBox="1"/>
          <p:nvPr/>
        </p:nvSpPr>
        <p:spPr>
          <a:xfrm>
            <a:off x="1628597" y="4564088"/>
            <a:ext cx="2596317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2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2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C0574A-12C2-FB0D-B2E8-B604FEBE50D5}"/>
              </a:ext>
            </a:extLst>
          </p:cNvPr>
          <p:cNvSpPr txBox="1"/>
          <p:nvPr/>
        </p:nvSpPr>
        <p:spPr>
          <a:xfrm>
            <a:off x="1628603" y="4782042"/>
            <a:ext cx="2604803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3" name="Shape3_20221011_132100">
            <a:extLst>
              <a:ext uri="{FF2B5EF4-FFF2-40B4-BE49-F238E27FC236}">
                <a16:creationId xmlns:a16="http://schemas.microsoft.com/office/drawing/2014/main" id="{5573AC8C-9F0E-9038-5B1B-5D4517CBB86A}"/>
              </a:ext>
            </a:extLst>
          </p:cNvPr>
          <p:cNvSpPr txBox="1"/>
          <p:nvPr/>
        </p:nvSpPr>
        <p:spPr>
          <a:xfrm>
            <a:off x="1628726" y="4254515"/>
            <a:ext cx="466474" cy="24622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XX%</a:t>
            </a:r>
            <a:endParaRPr lang="en-IN"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F7E3E9-B9F1-3E87-F5AE-B41607358434}"/>
              </a:ext>
            </a:extLst>
          </p:cNvPr>
          <p:cNvSpPr txBox="1"/>
          <p:nvPr/>
        </p:nvSpPr>
        <p:spPr>
          <a:xfrm>
            <a:off x="5352873" y="4564088"/>
            <a:ext cx="2596317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2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2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73D69D8-5BDB-1990-7243-BCAE3F401313}"/>
              </a:ext>
            </a:extLst>
          </p:cNvPr>
          <p:cNvSpPr txBox="1"/>
          <p:nvPr/>
        </p:nvSpPr>
        <p:spPr>
          <a:xfrm>
            <a:off x="5352877" y="4782042"/>
            <a:ext cx="2604803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6" name="Shape4_20221011_132100">
            <a:extLst>
              <a:ext uri="{FF2B5EF4-FFF2-40B4-BE49-F238E27FC236}">
                <a16:creationId xmlns:a16="http://schemas.microsoft.com/office/drawing/2014/main" id="{626EBA23-5F0A-5E07-172E-617624EC383C}"/>
              </a:ext>
            </a:extLst>
          </p:cNvPr>
          <p:cNvSpPr txBox="1"/>
          <p:nvPr/>
        </p:nvSpPr>
        <p:spPr>
          <a:xfrm>
            <a:off x="5353002" y="4254515"/>
            <a:ext cx="466474" cy="24622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XX%</a:t>
            </a:r>
            <a:endParaRPr lang="en-IN"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3272EE6-3D70-AB62-5740-6A5CB839534A}"/>
              </a:ext>
            </a:extLst>
          </p:cNvPr>
          <p:cNvSpPr txBox="1"/>
          <p:nvPr/>
        </p:nvSpPr>
        <p:spPr>
          <a:xfrm>
            <a:off x="9077144" y="4564088"/>
            <a:ext cx="2596317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2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Title</a:t>
            </a:r>
            <a:endParaRPr lang="en-IN" sz="12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39CE04B-B02A-DA5B-837D-BB94F1ACA816}"/>
              </a:ext>
            </a:extLst>
          </p:cNvPr>
          <p:cNvSpPr txBox="1"/>
          <p:nvPr/>
        </p:nvSpPr>
        <p:spPr>
          <a:xfrm>
            <a:off x="9077152" y="4782042"/>
            <a:ext cx="2604803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501427">
              <a:defRPr/>
            </a:pPr>
            <a:r>
              <a:rPr lang="en-IN" sz="12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Shape5_20221011_132100">
            <a:extLst>
              <a:ext uri="{FF2B5EF4-FFF2-40B4-BE49-F238E27FC236}">
                <a16:creationId xmlns:a16="http://schemas.microsoft.com/office/drawing/2014/main" id="{5356B896-0B43-3B27-1FD2-2B476356A1BD}"/>
              </a:ext>
            </a:extLst>
          </p:cNvPr>
          <p:cNvSpPr txBox="1"/>
          <p:nvPr/>
        </p:nvSpPr>
        <p:spPr>
          <a:xfrm>
            <a:off x="9077278" y="4254515"/>
            <a:ext cx="466474" cy="24622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defTabSz="1501427">
              <a:defRPr/>
            </a:pPr>
            <a:r>
              <a:rPr lang="en-IN" sz="1600" b="1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XX%</a:t>
            </a:r>
            <a:endParaRPr lang="en-IN" sz="16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810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3</TotalTime>
  <Words>38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66</cp:revision>
  <dcterms:created xsi:type="dcterms:W3CDTF">2021-03-31T02:49:57Z</dcterms:created>
  <dcterms:modified xsi:type="dcterms:W3CDTF">2025-10-16T11:28:17Z</dcterms:modified>
  <cp:category/>
</cp:coreProperties>
</file>